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8" r:id="rId1"/>
    <p:sldMasterId id="2147483799" r:id="rId2"/>
    <p:sldMasterId id="2147483810" r:id="rId3"/>
    <p:sldMasterId id="2147483821" r:id="rId4"/>
  </p:sldMasterIdLst>
  <p:notesMasterIdLst>
    <p:notesMasterId r:id="rId9"/>
  </p:notesMasterIdLst>
  <p:sldIdLst>
    <p:sldId id="606" r:id="rId5"/>
    <p:sldId id="644" r:id="rId6"/>
    <p:sldId id="626" r:id="rId7"/>
    <p:sldId id="623" r:id="rId8"/>
  </p:sldIdLst>
  <p:sldSz cx="9144000" cy="6858000" type="screen4x3"/>
  <p:notesSz cx="7102475" cy="938847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55" clrIdx="0"/>
  <p:cmAuthor id="1" name="Author" initials="A" lastIdx="46" clrIdx="1"/>
  <p:cmAuthor id="2" name="Melannie Palencia" initials="MP" lastIdx="8" clrIdx="2"/>
  <p:cmAuthor id="3" name="Walker, Debra" initials="WD" lastIdx="2" clrIdx="3"/>
  <p:cmAuthor id="4" name="Rollins, Kim E." initials="RKE" lastIdx="219" clrIdx="4">
    <p:extLst>
      <p:ext uri="{19B8F6BF-5375-455C-9EA6-DF929625EA0E}">
        <p15:presenceInfo xmlns:p15="http://schemas.microsoft.com/office/powerpoint/2012/main" userId="S-1-5-21-776561741-1292428093-725345543-236359" providerId="AD"/>
      </p:ext>
    </p:extLst>
  </p:cmAuthor>
  <p:cmAuthor id="5" name="Gayathri Vissa" initials="GV" lastIdx="34" clrIdx="5">
    <p:extLst>
      <p:ext uri="{19B8F6BF-5375-455C-9EA6-DF929625EA0E}">
        <p15:presenceInfo xmlns:p15="http://schemas.microsoft.com/office/powerpoint/2012/main" userId="S-1-5-21-2057920271-2909937531-2447334961-3707" providerId="AD"/>
      </p:ext>
    </p:extLst>
  </p:cmAuthor>
  <p:cmAuthor id="6" name="Jackson, Cynthia R." initials="JCR" lastIdx="4" clrIdx="6">
    <p:extLst>
      <p:ext uri="{19B8F6BF-5375-455C-9EA6-DF929625EA0E}">
        <p15:presenceInfo xmlns:p15="http://schemas.microsoft.com/office/powerpoint/2012/main" userId="S-1-5-21-776561741-1292428093-725345543-3199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1B8FF"/>
    <a:srgbClr val="0083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1255F3-F329-44F4-9983-FF780D242807}" v="5" dt="2024-10-11T10:50:31.0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18" autoAdjust="0"/>
    <p:restoredTop sz="94280" autoAdjust="0"/>
  </p:normalViewPr>
  <p:slideViewPr>
    <p:cSldViewPr>
      <p:cViewPr varScale="1">
        <p:scale>
          <a:sx n="86" d="100"/>
          <a:sy n="86" d="100"/>
        </p:scale>
        <p:origin x="1627" y="5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4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en, Daniel M., VBADMON" userId="7c914569-856f-4554-93b2-891badd39ee5" providerId="ADAL" clId="{D31255F3-F329-44F4-9983-FF780D242807}"/>
    <pc:docChg chg="undo custSel addSld delSld modSld">
      <pc:chgData name="Hansen, Daniel M., VBADMON" userId="7c914569-856f-4554-93b2-891badd39ee5" providerId="ADAL" clId="{D31255F3-F329-44F4-9983-FF780D242807}" dt="2024-10-11T11:25:33.755" v="1538" actId="20577"/>
      <pc:docMkLst>
        <pc:docMk/>
      </pc:docMkLst>
      <pc:sldChg chg="modSp mod">
        <pc:chgData name="Hansen, Daniel M., VBADMON" userId="7c914569-856f-4554-93b2-891badd39ee5" providerId="ADAL" clId="{D31255F3-F329-44F4-9983-FF780D242807}" dt="2024-10-10T11:13:59.155" v="42" actId="20577"/>
        <pc:sldMkLst>
          <pc:docMk/>
          <pc:sldMk cId="3057679167" sldId="606"/>
        </pc:sldMkLst>
        <pc:spChg chg="mod">
          <ac:chgData name="Hansen, Daniel M., VBADMON" userId="7c914569-856f-4554-93b2-891badd39ee5" providerId="ADAL" clId="{D31255F3-F329-44F4-9983-FF780D242807}" dt="2024-10-10T11:13:59.155" v="42" actId="20577"/>
          <ac:spMkLst>
            <pc:docMk/>
            <pc:sldMk cId="3057679167" sldId="606"/>
            <ac:spMk id="6" creationId="{77828147-CD98-0FB2-4409-2AA0969FACF4}"/>
          </ac:spMkLst>
        </pc:spChg>
      </pc:sldChg>
      <pc:sldChg chg="add del">
        <pc:chgData name="Hansen, Daniel M., VBADMON" userId="7c914569-856f-4554-93b2-891badd39ee5" providerId="ADAL" clId="{D31255F3-F329-44F4-9983-FF780D242807}" dt="2024-10-11T11:07:11.138" v="1494" actId="2696"/>
        <pc:sldMkLst>
          <pc:docMk/>
          <pc:sldMk cId="2111275840" sldId="623"/>
        </pc:sldMkLst>
      </pc:sldChg>
      <pc:sldChg chg="addSp modSp mod">
        <pc:chgData name="Hansen, Daniel M., VBADMON" userId="7c914569-856f-4554-93b2-891badd39ee5" providerId="ADAL" clId="{D31255F3-F329-44F4-9983-FF780D242807}" dt="2024-10-11T11:25:33.755" v="1538" actId="20577"/>
        <pc:sldMkLst>
          <pc:docMk/>
          <pc:sldMk cId="7271869" sldId="626"/>
        </pc:sldMkLst>
        <pc:spChg chg="mod">
          <ac:chgData name="Hansen, Daniel M., VBADMON" userId="7c914569-856f-4554-93b2-891badd39ee5" providerId="ADAL" clId="{D31255F3-F329-44F4-9983-FF780D242807}" dt="2024-10-10T12:45:28.084" v="556" actId="20577"/>
          <ac:spMkLst>
            <pc:docMk/>
            <pc:sldMk cId="7271869" sldId="626"/>
            <ac:spMk id="2" creationId="{00000000-0000-0000-0000-000000000000}"/>
          </ac:spMkLst>
        </pc:spChg>
        <pc:spChg chg="add mod">
          <ac:chgData name="Hansen, Daniel M., VBADMON" userId="7c914569-856f-4554-93b2-891badd39ee5" providerId="ADAL" clId="{D31255F3-F329-44F4-9983-FF780D242807}" dt="2024-10-11T10:51:58.796" v="1292" actId="1076"/>
          <ac:spMkLst>
            <pc:docMk/>
            <pc:sldMk cId="7271869" sldId="626"/>
            <ac:spMk id="4" creationId="{E664EE5E-1016-7754-4C7D-886DA2AD4063}"/>
          </ac:spMkLst>
        </pc:spChg>
        <pc:spChg chg="add mod">
          <ac:chgData name="Hansen, Daniel M., VBADMON" userId="7c914569-856f-4554-93b2-891badd39ee5" providerId="ADAL" clId="{D31255F3-F329-44F4-9983-FF780D242807}" dt="2024-10-11T11:25:33.755" v="1538" actId="20577"/>
          <ac:spMkLst>
            <pc:docMk/>
            <pc:sldMk cId="7271869" sldId="626"/>
            <ac:spMk id="5" creationId="{3EA742C6-2AA3-8B9A-A2EA-574FDD5A81F0}"/>
          </ac:spMkLst>
        </pc:spChg>
        <pc:spChg chg="mod">
          <ac:chgData name="Hansen, Daniel M., VBADMON" userId="7c914569-856f-4554-93b2-891badd39ee5" providerId="ADAL" clId="{D31255F3-F329-44F4-9983-FF780D242807}" dt="2024-10-11T10:54:20.815" v="1483" actId="20577"/>
          <ac:spMkLst>
            <pc:docMk/>
            <pc:sldMk cId="7271869" sldId="626"/>
            <ac:spMk id="13" creationId="{1D6F1883-7AAE-4744-86FF-72848E0972AF}"/>
          </ac:spMkLst>
        </pc:spChg>
      </pc:sldChg>
      <pc:sldChg chg="del">
        <pc:chgData name="Hansen, Daniel M., VBADMON" userId="7c914569-856f-4554-93b2-891badd39ee5" providerId="ADAL" clId="{D31255F3-F329-44F4-9983-FF780D242807}" dt="2024-10-11T11:06:34.043" v="1487" actId="2696"/>
        <pc:sldMkLst>
          <pc:docMk/>
          <pc:sldMk cId="2894377087" sldId="634"/>
        </pc:sldMkLst>
      </pc:sldChg>
      <pc:sldChg chg="del">
        <pc:chgData name="Hansen, Daniel M., VBADMON" userId="7c914569-856f-4554-93b2-891badd39ee5" providerId="ADAL" clId="{D31255F3-F329-44F4-9983-FF780D242807}" dt="2024-10-11T11:06:38.598" v="1489" actId="2696"/>
        <pc:sldMkLst>
          <pc:docMk/>
          <pc:sldMk cId="1947379023" sldId="639"/>
        </pc:sldMkLst>
      </pc:sldChg>
      <pc:sldChg chg="del">
        <pc:chgData name="Hansen, Daniel M., VBADMON" userId="7c914569-856f-4554-93b2-891badd39ee5" providerId="ADAL" clId="{D31255F3-F329-44F4-9983-FF780D242807}" dt="2024-10-11T11:06:42.455" v="1490" actId="2696"/>
        <pc:sldMkLst>
          <pc:docMk/>
          <pc:sldMk cId="2463259563" sldId="641"/>
        </pc:sldMkLst>
      </pc:sldChg>
      <pc:sldChg chg="addSp delSp modSp mod">
        <pc:chgData name="Hansen, Daniel M., VBADMON" userId="7c914569-856f-4554-93b2-891badd39ee5" providerId="ADAL" clId="{D31255F3-F329-44F4-9983-FF780D242807}" dt="2024-10-11T10:53:38.392" v="1478" actId="20577"/>
        <pc:sldMkLst>
          <pc:docMk/>
          <pc:sldMk cId="4096230703" sldId="644"/>
        </pc:sldMkLst>
        <pc:spChg chg="mod">
          <ac:chgData name="Hansen, Daniel M., VBADMON" userId="7c914569-856f-4554-93b2-891badd39ee5" providerId="ADAL" clId="{D31255F3-F329-44F4-9983-FF780D242807}" dt="2024-10-10T11:16:56.405" v="96" actId="20577"/>
          <ac:spMkLst>
            <pc:docMk/>
            <pc:sldMk cId="4096230703" sldId="644"/>
            <ac:spMk id="2" creationId="{00000000-0000-0000-0000-000000000000}"/>
          </ac:spMkLst>
        </pc:spChg>
        <pc:spChg chg="add mod">
          <ac:chgData name="Hansen, Daniel M., VBADMON" userId="7c914569-856f-4554-93b2-891badd39ee5" providerId="ADAL" clId="{D31255F3-F329-44F4-9983-FF780D242807}" dt="2024-10-11T10:53:38.392" v="1478" actId="20577"/>
          <ac:spMkLst>
            <pc:docMk/>
            <pc:sldMk cId="4096230703" sldId="644"/>
            <ac:spMk id="4" creationId="{3D20BE6C-C494-54BB-58F5-A6A146D18FE4}"/>
          </ac:spMkLst>
        </pc:spChg>
        <pc:spChg chg="del mod">
          <ac:chgData name="Hansen, Daniel M., VBADMON" userId="7c914569-856f-4554-93b2-891badd39ee5" providerId="ADAL" clId="{D31255F3-F329-44F4-9983-FF780D242807}" dt="2024-10-10T11:16:18.794" v="48" actId="21"/>
          <ac:spMkLst>
            <pc:docMk/>
            <pc:sldMk cId="4096230703" sldId="644"/>
            <ac:spMk id="13" creationId="{1D6F1883-7AAE-4744-86FF-72848E0972AF}"/>
          </ac:spMkLst>
        </pc:spChg>
        <pc:picChg chg="del">
          <ac:chgData name="Hansen, Daniel M., VBADMON" userId="7c914569-856f-4554-93b2-891badd39ee5" providerId="ADAL" clId="{D31255F3-F329-44F4-9983-FF780D242807}" dt="2024-10-10T11:16:05.619" v="43" actId="478"/>
          <ac:picMkLst>
            <pc:docMk/>
            <pc:sldMk cId="4096230703" sldId="644"/>
            <ac:picMk id="6" creationId="{C347AD8A-275D-074B-FBE8-A2E04D1A1DB9}"/>
          </ac:picMkLst>
        </pc:picChg>
        <pc:picChg chg="del">
          <ac:chgData name="Hansen, Daniel M., VBADMON" userId="7c914569-856f-4554-93b2-891badd39ee5" providerId="ADAL" clId="{D31255F3-F329-44F4-9983-FF780D242807}" dt="2024-10-10T11:16:06.986" v="44" actId="478"/>
          <ac:picMkLst>
            <pc:docMk/>
            <pc:sldMk cId="4096230703" sldId="644"/>
            <ac:picMk id="10" creationId="{2BAA43D6-4A39-3589-C7B3-A19164119F69}"/>
          </ac:picMkLst>
        </pc:picChg>
      </pc:sldChg>
      <pc:sldChg chg="delSp modSp del mod">
        <pc:chgData name="Hansen, Daniel M., VBADMON" userId="7c914569-856f-4554-93b2-891badd39ee5" providerId="ADAL" clId="{D31255F3-F329-44F4-9983-FF780D242807}" dt="2024-10-11T11:06:31.705" v="1486" actId="2696"/>
        <pc:sldMkLst>
          <pc:docMk/>
          <pc:sldMk cId="1931432876" sldId="645"/>
        </pc:sldMkLst>
        <pc:spChg chg="mod">
          <ac:chgData name="Hansen, Daniel M., VBADMON" userId="7c914569-856f-4554-93b2-891badd39ee5" providerId="ADAL" clId="{D31255F3-F329-44F4-9983-FF780D242807}" dt="2024-10-10T17:08:45.615" v="728" actId="20577"/>
          <ac:spMkLst>
            <pc:docMk/>
            <pc:sldMk cId="1931432876" sldId="645"/>
            <ac:spMk id="2" creationId="{00000000-0000-0000-0000-000000000000}"/>
          </ac:spMkLst>
        </pc:spChg>
        <pc:spChg chg="mod">
          <ac:chgData name="Hansen, Daniel M., VBADMON" userId="7c914569-856f-4554-93b2-891badd39ee5" providerId="ADAL" clId="{D31255F3-F329-44F4-9983-FF780D242807}" dt="2024-10-10T17:11:58.478" v="1052"/>
          <ac:spMkLst>
            <pc:docMk/>
            <pc:sldMk cId="1931432876" sldId="645"/>
            <ac:spMk id="13" creationId="{1D6F1883-7AAE-4744-86FF-72848E0972AF}"/>
          </ac:spMkLst>
        </pc:spChg>
        <pc:picChg chg="del">
          <ac:chgData name="Hansen, Daniel M., VBADMON" userId="7c914569-856f-4554-93b2-891badd39ee5" providerId="ADAL" clId="{D31255F3-F329-44F4-9983-FF780D242807}" dt="2024-10-10T17:06:27.680" v="559" actId="21"/>
          <ac:picMkLst>
            <pc:docMk/>
            <pc:sldMk cId="1931432876" sldId="645"/>
            <ac:picMk id="5" creationId="{A163DCA6-2ACE-A3CA-A4BB-5AF40A4F36D3}"/>
          </ac:picMkLst>
        </pc:picChg>
      </pc:sldChg>
      <pc:sldChg chg="del">
        <pc:chgData name="Hansen, Daniel M., VBADMON" userId="7c914569-856f-4554-93b2-891badd39ee5" providerId="ADAL" clId="{D31255F3-F329-44F4-9983-FF780D242807}" dt="2024-10-11T11:06:36.487" v="1488" actId="2696"/>
        <pc:sldMkLst>
          <pc:docMk/>
          <pc:sldMk cId="2577062525" sldId="646"/>
        </pc:sldMkLst>
      </pc:sldChg>
      <pc:sldChg chg="del">
        <pc:chgData name="Hansen, Daniel M., VBADMON" userId="7c914569-856f-4554-93b2-891badd39ee5" providerId="ADAL" clId="{D31255F3-F329-44F4-9983-FF780D242807}" dt="2024-10-11T11:06:49.712" v="1492" actId="2696"/>
        <pc:sldMkLst>
          <pc:docMk/>
          <pc:sldMk cId="239242795" sldId="647"/>
        </pc:sldMkLst>
      </pc:sldChg>
      <pc:sldChg chg="del">
        <pc:chgData name="Hansen, Daniel M., VBADMON" userId="7c914569-856f-4554-93b2-891badd39ee5" providerId="ADAL" clId="{D31255F3-F329-44F4-9983-FF780D242807}" dt="2024-10-11T11:06:45.995" v="1491" actId="2696"/>
        <pc:sldMkLst>
          <pc:docMk/>
          <pc:sldMk cId="673532102" sldId="648"/>
        </pc:sldMkLst>
      </pc:sldChg>
      <pc:sldChg chg="addSp modSp new del mod">
        <pc:chgData name="Hansen, Daniel M., VBADMON" userId="7c914569-856f-4554-93b2-891badd39ee5" providerId="ADAL" clId="{D31255F3-F329-44F4-9983-FF780D242807}" dt="2024-10-11T11:06:26.388" v="1484" actId="2696"/>
        <pc:sldMkLst>
          <pc:docMk/>
          <pc:sldMk cId="2077933286" sldId="649"/>
        </pc:sldMkLst>
        <pc:spChg chg="mod">
          <ac:chgData name="Hansen, Daniel M., VBADMON" userId="7c914569-856f-4554-93b2-891badd39ee5" providerId="ADAL" clId="{D31255F3-F329-44F4-9983-FF780D242807}" dt="2024-10-10T17:24:44.811" v="1077" actId="20577"/>
          <ac:spMkLst>
            <pc:docMk/>
            <pc:sldMk cId="2077933286" sldId="649"/>
            <ac:spMk id="2" creationId="{35D65ED8-9A8F-33CB-5CA5-20A17B10876D}"/>
          </ac:spMkLst>
        </pc:spChg>
        <pc:spChg chg="add mod">
          <ac:chgData name="Hansen, Daniel M., VBADMON" userId="7c914569-856f-4554-93b2-891badd39ee5" providerId="ADAL" clId="{D31255F3-F329-44F4-9983-FF780D242807}" dt="2024-10-10T17:31:18.890" v="1194" actId="14100"/>
          <ac:spMkLst>
            <pc:docMk/>
            <pc:sldMk cId="2077933286" sldId="649"/>
            <ac:spMk id="3" creationId="{A0D28320-6C26-2E9C-C811-A5F10A9DAD0A}"/>
          </ac:spMkLst>
        </pc:spChg>
      </pc:sldChg>
      <pc:sldChg chg="addSp modSp new del mod">
        <pc:chgData name="Hansen, Daniel M., VBADMON" userId="7c914569-856f-4554-93b2-891badd39ee5" providerId="ADAL" clId="{D31255F3-F329-44F4-9983-FF780D242807}" dt="2024-10-11T11:06:28.802" v="1485" actId="2696"/>
        <pc:sldMkLst>
          <pc:docMk/>
          <pc:sldMk cId="3539740663" sldId="650"/>
        </pc:sldMkLst>
        <pc:spChg chg="mod">
          <ac:chgData name="Hansen, Daniel M., VBADMON" userId="7c914569-856f-4554-93b2-891badd39ee5" providerId="ADAL" clId="{D31255F3-F329-44F4-9983-FF780D242807}" dt="2024-10-10T17:31:45.654" v="1221" actId="20577"/>
          <ac:spMkLst>
            <pc:docMk/>
            <pc:sldMk cId="3539740663" sldId="650"/>
            <ac:spMk id="2" creationId="{BBF22F79-6712-38CA-4B63-2F422D964CD5}"/>
          </ac:spMkLst>
        </pc:spChg>
        <pc:spChg chg="add mod">
          <ac:chgData name="Hansen, Daniel M., VBADMON" userId="7c914569-856f-4554-93b2-891badd39ee5" providerId="ADAL" clId="{D31255F3-F329-44F4-9983-FF780D242807}" dt="2024-10-10T17:33:00.717" v="1271"/>
          <ac:spMkLst>
            <pc:docMk/>
            <pc:sldMk cId="3539740663" sldId="650"/>
            <ac:spMk id="3" creationId="{682EC922-2CDF-0C5E-FDE1-77986E0F0B5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197" tIns="47099" rIns="94197" bIns="470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5" y="0"/>
            <a:ext cx="3077739" cy="469424"/>
          </a:xfrm>
          <a:prstGeom prst="rect">
            <a:avLst/>
          </a:prstGeom>
        </p:spPr>
        <p:txBody>
          <a:bodyPr vert="horz" lIns="94197" tIns="47099" rIns="94197" bIns="47099" rtlCol="0"/>
          <a:lstStyle>
            <a:lvl1pPr algn="r">
              <a:defRPr sz="1200"/>
            </a:lvl1pPr>
          </a:lstStyle>
          <a:p>
            <a:fld id="{548CCA6C-7522-4125-961E-58AECFFC75C0}" type="datetimeFigureOut">
              <a:rPr lang="en-US" smtClean="0"/>
              <a:t>10/1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3325" y="703263"/>
            <a:ext cx="4695825" cy="352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7" tIns="47099" rIns="94197" bIns="4709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197" tIns="47099" rIns="94197" bIns="4709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197" tIns="47099" rIns="94197" bIns="470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5" y="8917422"/>
            <a:ext cx="3077739" cy="469424"/>
          </a:xfrm>
          <a:prstGeom prst="rect">
            <a:avLst/>
          </a:prstGeom>
        </p:spPr>
        <p:txBody>
          <a:bodyPr vert="horz" lIns="94197" tIns="47099" rIns="94197" bIns="47099" rtlCol="0" anchor="b"/>
          <a:lstStyle>
            <a:lvl1pPr algn="r">
              <a:defRPr sz="1200"/>
            </a:lvl1pPr>
          </a:lstStyle>
          <a:p>
            <a:fld id="{5FABB6EF-E499-4C15-B4E0-C8657C727AD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658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4894" fontAlgn="base">
              <a:spcBef>
                <a:spcPct val="0"/>
              </a:spcBef>
              <a:spcAft>
                <a:spcPct val="0"/>
              </a:spcAft>
              <a:defRPr/>
            </a:pPr>
            <a:fld id="{27F7C247-0B9D-4228-B936-EA1068082B61}" type="slidenum">
              <a:rPr lang="en-US" alt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944894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alt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497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4894" fontAlgn="base">
              <a:spcBef>
                <a:spcPct val="0"/>
              </a:spcBef>
              <a:spcAft>
                <a:spcPct val="0"/>
              </a:spcAft>
              <a:defRPr/>
            </a:pPr>
            <a:fld id="{27F7C247-0B9D-4228-B936-EA1068082B61}" type="slidenum">
              <a:rPr lang="en-US" alt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944894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alt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557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4894" fontAlgn="base">
              <a:spcBef>
                <a:spcPct val="0"/>
              </a:spcBef>
              <a:spcAft>
                <a:spcPct val="0"/>
              </a:spcAft>
              <a:defRPr/>
            </a:pPr>
            <a:fld id="{27F7C247-0B9D-4228-B936-EA1068082B61}" type="slidenum">
              <a:rPr lang="en-US" alt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944894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alt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495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14132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2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789784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009473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3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3" y="273057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7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0585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261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2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685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116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5091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fontAlgn="base">
              <a:spcBef>
                <a:spcPts val="12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fontAlgn="base">
              <a:spcBef>
                <a:spcPts val="120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075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67050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027026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3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3" y="273057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7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3725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9804341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292313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3901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2236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6840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318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225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defTabSz="9144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defTabSz="914400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769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9101383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816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6780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6225360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5225154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2764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2005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6747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7384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37966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2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659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2372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9173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4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fontAlgn="base">
              <a:spcBef>
                <a:spcPts val="12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fontAlgn="base">
              <a:spcBef>
                <a:spcPts val="120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180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95944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80092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oleObject" Target="../embeddings/oleObject8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3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1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5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52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oleObject" Target="../embeddings/oleObject3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-72569" y="6241885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985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2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71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578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614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nowva.ebenefits.va.gov/system/templates/selfservice/va_ssnew/help/customer/locale/en-US/portal/554400000001018/content/554400000174869/M21-1-Part-II-Subpart-iii-Chapter-1-Section-A-Applications-for-Benefits?query=prescribed" TargetMode="External"/><Relationship Id="rId3" Type="http://schemas.openxmlformats.org/officeDocument/2006/relationships/slideLayout" Target="../slideLayouts/slideLayout11.xml"/><Relationship Id="rId7" Type="http://schemas.openxmlformats.org/officeDocument/2006/relationships/hyperlink" Target="https://www.knowva.ebenefits.va.gov/system/templates/selfservice/va_ssnew/help/customer/locale/en-US/portal/554400000001018/content/554400000011474/Appendix-B-End-Product-EP-Codes" TargetMode="Externa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.xml"/><Relationship Id="rId9" Type="http://schemas.openxmlformats.org/officeDocument/2006/relationships/hyperlink" Target="https://dvagov.sharepoint.com/sites/vbavbadesmoinesvso?xsdata=MDV8MDJ8fGNiMmE1ZmI5ZTJhYzRiNWIxMmVkMDhkYzFjZjczZTI0fGU5NWYxYjIzYWJhZjQ1ZWU4MjFkYjdhYjI1MWFiM2JmfDB8MHw2Mzg0MTcwOTU0MDQ4MTkxODF8VW5rbm93bnxWR1ZoYlhOVFpXTjFjbWwwZVZObGNuWnBZMlY4ZXlKV0lqb2lNQzR3TGpBd01EQWlMQ0pRSWpvaVYybHVNeklpTENKQlRpSTZJazkwYUdWeUlpd2lWMVFpT2pFeGZRPT18MXxMMk5vWVhSekx6RTVPamRqT1RFME5UWTVMVGcxTm1ZdE5EVTFOQzA1TTJJeUxUZzVNV0poWkdRek9XVmxOVjg1WWpOaVpEQXpOQzB4T1RBeUxUUmxPRGN0WWpFeFpDMHdZakUzWkdVeFlUUmhOVFJBZFc1eExtZGliQzV6Y0dGalpYTXZiV1Z6YzJGblpYTXZNVGN3TmpFeE1qY3pPVFUwTXc9PXw3ZTMxOWYyZDE0MWU0Njc1MTJlZDA4ZGMxY2Y3M2UyNHwzN2YzYTNiMmU1Mzk0NjcwOTlkZmIzNTc5NDY5MTVmMw%3D%3D&amp;sdata=MzE3M21UdTcxTFBBa3VUZjBMQ0Y3elgzb0lpdGJTM2kwc3hkRWEvUDlFcz0%3D&amp;ovuser=e95f1b23-abaf-45ee-821d-b7ab251ab3bf%2CDaniel.Hansen%40va.gov&amp;OR=Teams-HL&amp;CT=1706112741755&amp;clickparams=eyJBcHBOYW1lIjoiVGVhbXMtRGVza3RvcCIsIkFwcFZlcnNpb24iOiIyNy8yMzExMzAyNjIwMiIsIkhhc0ZlZGVyYXRlZFVzZXIiOmZhbHNlfQ%3D%3D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freepngclipart.com/png/85229-text-photography-question-interrogation-communication-stock" TargetMode="External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7828147-CD98-0FB2-4409-2AA0969FACF4}"/>
              </a:ext>
            </a:extLst>
          </p:cNvPr>
          <p:cNvSpPr txBox="1"/>
          <p:nvPr/>
        </p:nvSpPr>
        <p:spPr>
          <a:xfrm>
            <a:off x="533400" y="990600"/>
            <a:ext cx="80772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/>
          </a:p>
          <a:p>
            <a:pPr algn="ctr"/>
            <a:r>
              <a:rPr lang="en-US" dirty="0"/>
              <a:t>Des Moines Regional Office</a:t>
            </a:r>
          </a:p>
          <a:p>
            <a:pPr algn="ctr"/>
            <a:r>
              <a:rPr lang="en-US" dirty="0"/>
              <a:t>CVSO Fall School </a:t>
            </a:r>
          </a:p>
          <a:p>
            <a:pPr algn="ctr"/>
            <a:r>
              <a:rPr lang="en-US" dirty="0"/>
              <a:t>October 2024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Dan Hansen</a:t>
            </a:r>
          </a:p>
          <a:p>
            <a:pPr algn="ctr"/>
            <a:r>
              <a:rPr lang="en-US" dirty="0"/>
              <a:t>PCT Coac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96FF12-B106-5087-9207-BFCE402372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660" y="2286000"/>
            <a:ext cx="2466340" cy="239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679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954954-9833-47DB-9328-3869D8EA13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778"/>
            <a:ext cx="9098711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/>
              <a:t>Agenda		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20BE6C-C494-54BB-58F5-A6A146D18FE4}"/>
              </a:ext>
            </a:extLst>
          </p:cNvPr>
          <p:cNvSpPr txBox="1"/>
          <p:nvPr/>
        </p:nvSpPr>
        <p:spPr>
          <a:xfrm>
            <a:off x="533400" y="1143000"/>
            <a:ext cx="8077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SHARE/VBMS DEMO</a:t>
            </a:r>
          </a:p>
          <a:p>
            <a:pPr marL="285750" indent="-285750">
              <a:buFontTx/>
              <a:buChar char="-"/>
            </a:pPr>
            <a:r>
              <a:rPr lang="en-US" dirty="0"/>
              <a:t>END PRODUCT (EP) CODES</a:t>
            </a:r>
          </a:p>
          <a:p>
            <a:pPr marL="285750" indent="-285750">
              <a:buFontTx/>
              <a:buChar char="-"/>
            </a:pPr>
            <a:r>
              <a:rPr lang="en-US" dirty="0"/>
              <a:t>PRESCRIBED APPLICATIONS FOR BENEFITS</a:t>
            </a:r>
          </a:p>
          <a:p>
            <a:pPr marL="285750" indent="-285750">
              <a:buFontTx/>
              <a:buChar char="-"/>
            </a:pPr>
            <a:r>
              <a:rPr lang="en-US" dirty="0"/>
              <a:t>DES MOINES VSO/CVSO SHAREPOINT INTQUIREY SITE</a:t>
            </a:r>
          </a:p>
          <a:p>
            <a:pPr marL="285750" indent="-285750">
              <a:buFontTx/>
              <a:buChar char="-"/>
            </a:pPr>
            <a:r>
              <a:rPr lang="en-US" dirty="0"/>
              <a:t>Q&amp;A SESSION/EARLY LUNCH!! </a:t>
            </a:r>
          </a:p>
        </p:txBody>
      </p:sp>
    </p:spTree>
    <p:extLst>
      <p:ext uri="{BB962C8B-B14F-4D97-AF65-F5344CB8AC3E}">
        <p14:creationId xmlns:p14="http://schemas.microsoft.com/office/powerpoint/2010/main" val="4096230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954954-9833-47DB-9328-3869D8EA13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778"/>
            <a:ext cx="9098711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/>
              <a:t>SHARE Access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1D6F1883-7AAE-4744-86FF-72848E097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866" y="862012"/>
            <a:ext cx="8458200" cy="513397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rPr>
              <a:t>To access SHARE, go to your start icon, select VBAPPS, then select Share T11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64EE5E-1016-7754-4C7D-886DA2AD4063}"/>
              </a:ext>
            </a:extLst>
          </p:cNvPr>
          <p:cNvSpPr txBox="1"/>
          <p:nvPr/>
        </p:nvSpPr>
        <p:spPr>
          <a:xfrm>
            <a:off x="290744" y="1319123"/>
            <a:ext cx="701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endix B. End Product (EP) Codes (va.gov)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A742C6-2AA3-8B9A-A2EA-574FDD5A81F0}"/>
              </a:ext>
            </a:extLst>
          </p:cNvPr>
          <p:cNvSpPr txBox="1"/>
          <p:nvPr/>
        </p:nvSpPr>
        <p:spPr>
          <a:xfrm>
            <a:off x="281866" y="2065079"/>
            <a:ext cx="7620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70C0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21-1, Part II, Subpart iii, Chapter 1, Section A - Applications for Benefits (va.gov)</a:t>
            </a:r>
            <a:endParaRPr lang="en-US" dirty="0">
              <a:solidFill>
                <a:srgbClr val="0070C0"/>
              </a:solidFill>
            </a:endParaRPr>
          </a:p>
          <a:p>
            <a:endParaRPr lang="en-US" dirty="0">
              <a:solidFill>
                <a:srgbClr val="0070C0"/>
              </a:solidFill>
            </a:endParaRPr>
          </a:p>
          <a:p>
            <a:r>
              <a:rPr lang="en-US" sz="1800" dirty="0">
                <a:solidFill>
                  <a:srgbClr val="0070C0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s Moines VSO/CVSO Site - Home (sharepoint.com)</a:t>
            </a:r>
            <a:r>
              <a:rPr lang="en-US" sz="18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</a:p>
          <a:p>
            <a:endParaRPr lang="en-US" dirty="0">
              <a:solidFill>
                <a:srgbClr val="0070C0"/>
              </a:solidFill>
              <a:latin typeface="Arial" panose="020B0604020202020204" pitchFamily="34" charset="0"/>
              <a:cs typeface="Arial" pitchFamily="34" charset="0"/>
              <a:sym typeface="Arial" panose="020B0604020202020204" pitchFamily="34" charset="0"/>
            </a:endParaRPr>
          </a:p>
          <a:p>
            <a:r>
              <a:rPr lang="en-US" sz="1800" dirty="0">
                <a:solidFill>
                  <a:srgbClr val="0070C0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Miscellaneous “stuff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1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954954-9833-47DB-9328-3869D8EA137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778"/>
            <a:ext cx="9098711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/>
              <a:t> Ques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ED46E7-47BB-D5B8-14F9-351F6588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3505200" y="1219200"/>
            <a:ext cx="2947354" cy="4022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75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sYmASS5ShWXUXCRHW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sYmASS5ShWXUXCRHW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sYmASS5ShWXUXCRHW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e95f1b23-abaf-45ee-821d-b7ab251ab3bf}" enabled="0" method="" siteId="{e95f1b23-abaf-45ee-821d-b7ab251ab3b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0488</TotalTime>
  <Words>123</Words>
  <Application>Microsoft Office PowerPoint</Application>
  <PresentationFormat>On-screen Show (4:3)</PresentationFormat>
  <Paragraphs>40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Tahoma</vt:lpstr>
      <vt:lpstr>14_Office Theme</vt:lpstr>
      <vt:lpstr>6_Office Theme</vt:lpstr>
      <vt:lpstr>7_Office Theme</vt:lpstr>
      <vt:lpstr>3_Office Theme</vt:lpstr>
      <vt:lpstr>think-cell Slide</vt:lpstr>
      <vt:lpstr>PowerPoint Presentation</vt:lpstr>
      <vt:lpstr>Agenda  </vt:lpstr>
      <vt:lpstr>SHARE Access</vt:lpstr>
      <vt:lpstr> Questions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ice of Public and Intergovernmental Affairs</dc:title>
  <dc:creator>Department of Veterans Affairs</dc:creator>
  <cp:lastModifiedBy>Hansen, Daniel M., VBADMON</cp:lastModifiedBy>
  <cp:revision>1680</cp:revision>
  <cp:lastPrinted>2019-01-07T15:12:09Z</cp:lastPrinted>
  <dcterms:created xsi:type="dcterms:W3CDTF">2018-06-21T17:15:19Z</dcterms:created>
  <dcterms:modified xsi:type="dcterms:W3CDTF">2024-10-11T11:25:38Z</dcterms:modified>
</cp:coreProperties>
</file>